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372" r:id="rId2"/>
    <p:sldId id="436" r:id="rId3"/>
    <p:sldId id="369" r:id="rId4"/>
    <p:sldId id="437" r:id="rId5"/>
    <p:sldId id="438" r:id="rId6"/>
    <p:sldId id="439" r:id="rId7"/>
    <p:sldId id="440" r:id="rId8"/>
    <p:sldId id="441" r:id="rId9"/>
    <p:sldId id="442" r:id="rId10"/>
    <p:sldId id="443" r:id="rId11"/>
    <p:sldId id="444" r:id="rId12"/>
    <p:sldId id="445" r:id="rId13"/>
    <p:sldId id="446" r:id="rId14"/>
    <p:sldId id="447" r:id="rId15"/>
    <p:sldId id="378" r:id="rId16"/>
    <p:sldId id="448" r:id="rId17"/>
    <p:sldId id="449" r:id="rId18"/>
    <p:sldId id="450" r:id="rId19"/>
    <p:sldId id="451" r:id="rId20"/>
    <p:sldId id="452" r:id="rId21"/>
    <p:sldId id="453" r:id="rId22"/>
    <p:sldId id="454" r:id="rId23"/>
    <p:sldId id="455" r:id="rId24"/>
    <p:sldId id="462" r:id="rId25"/>
    <p:sldId id="435" r:id="rId26"/>
    <p:sldId id="463" r:id="rId27"/>
    <p:sldId id="460" r:id="rId28"/>
    <p:sldId id="461" r:id="rId29"/>
  </p:sldIdLst>
  <p:sldSz cx="12192000" cy="6858000"/>
  <p:notesSz cx="6737350" cy="9875838"/>
  <p:custDataLst>
    <p:tags r:id="rId3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890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7" orient="horz" pos="2614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9" userDrawn="1">
          <p15:clr>
            <a:srgbClr val="A4A3A4"/>
          </p15:clr>
        </p15:guide>
        <p15:guide id="10" pos="6516" userDrawn="1">
          <p15:clr>
            <a:srgbClr val="A4A3A4"/>
          </p15:clr>
        </p15:guide>
        <p15:guide id="11" orient="horz" pos="11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694"/>
    <a:srgbClr val="F98420"/>
    <a:srgbClr val="2D3494"/>
    <a:srgbClr val="E30F3C"/>
    <a:srgbClr val="2F2A85"/>
    <a:srgbClr val="2F3696"/>
    <a:srgbClr val="9BA0E1"/>
    <a:srgbClr val="7B82D7"/>
    <a:srgbClr val="FC0652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18" autoAdjust="0"/>
    <p:restoredTop sz="95400" autoAdjust="0"/>
  </p:normalViewPr>
  <p:slideViewPr>
    <p:cSldViewPr>
      <p:cViewPr varScale="1">
        <p:scale>
          <a:sx n="256" d="100"/>
          <a:sy n="256" d="100"/>
        </p:scale>
        <p:origin x="234" y="228"/>
      </p:cViewPr>
      <p:guideLst>
        <p:guide orient="horz" pos="346"/>
        <p:guide orient="horz" pos="890"/>
        <p:guide orient="horz" pos="210"/>
        <p:guide pos="211"/>
        <p:guide orient="horz" pos="2614"/>
        <p:guide orient="horz" pos="391"/>
        <p:guide/>
        <p:guide pos="6516"/>
        <p:guide orient="horz" pos="1117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256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529" y="1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09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380462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529" y="9380462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6278" y="2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09.04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6200" y="742950"/>
            <a:ext cx="6584950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63" tIns="46131" rIns="92263" bIns="4613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738" y="4691029"/>
            <a:ext cx="5389880" cy="4444126"/>
          </a:xfrm>
          <a:prstGeom prst="rect">
            <a:avLst/>
          </a:prstGeom>
        </p:spPr>
        <p:txBody>
          <a:bodyPr vert="horz" lIns="92263" tIns="46131" rIns="92263" bIns="4613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380335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6278" y="9380335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" y="0"/>
            <a:ext cx="12184898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3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386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" y="0"/>
            <a:ext cx="12184898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3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836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76351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87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376" y="116632"/>
            <a:ext cx="11375057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146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12"/>
          </p:nvPr>
        </p:nvSpPr>
        <p:spPr>
          <a:xfrm>
            <a:off x="479376" y="1628800"/>
            <a:ext cx="11375057" cy="4464496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6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69626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0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479376" y="1628800"/>
            <a:ext cx="11375057" cy="4464496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376" y="116632"/>
            <a:ext cx="11375057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146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6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859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6646045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05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0" name="Pictur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3"/>
            <a:ext cx="11520000" cy="490530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6004666" y="6513086"/>
            <a:ext cx="179536" cy="1846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663" r:id="rId3"/>
    <p:sldLayoutId id="2147483704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685800" rtl="0" eaLnBrk="1" latinLnBrk="0" hangingPunct="1">
        <a:spcBef>
          <a:spcPct val="0"/>
        </a:spcBef>
        <a:buNone/>
        <a:defRPr sz="135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450"/>
        </a:spcBef>
        <a:buClr>
          <a:srgbClr val="014694"/>
        </a:buClr>
        <a:buFont typeface="Arial" pitchFamily="34" charset="0"/>
        <a:buNone/>
        <a:defRPr sz="14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14694"/>
        </a:buClr>
        <a:buFont typeface="Wingdings" pitchFamily="2" charset="2"/>
        <a:buChar char="§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–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•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540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•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0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hyperlink" Target="https://shop.prosv.ru/funkcionalnaya-gramotnost-trenazhyor-matematika-na-kazhdyj-den-6-8-klassy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gi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s://shop.prosv.ru/oge--matematika--15-novyx-variantov-ot-prosveshheniya15119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gi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microsoft.com/office/2007/relationships/hdphoto" Target="../media/hdphoto3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shop.prosv.ru/oge--matematika--15-novyx-variantov-ot-prosveshheniya15119" TargetMode="External"/><Relationship Id="rId4" Type="http://schemas.openxmlformats.org/officeDocument/2006/relationships/hyperlink" Target="https://shop.prosv.ru/funkcionalnaya-gramotnost-trenazhyor-matematika-na-kazhdyj-den-6-8-klassy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shop.prosv.ru/ya-sdam-oge-2019-matematika-geometriya-tipovye-zadaniya3159" TargetMode="External"/><Relationship Id="rId3" Type="http://schemas.openxmlformats.org/officeDocument/2006/relationships/image" Target="../media/image20.jpeg"/><Relationship Id="rId7" Type="http://schemas.openxmlformats.org/officeDocument/2006/relationships/hyperlink" Target="https://shop.prosv.ru/ya-sdam-oge-2019--matematika--kurs-samopodgotovki--texnologiya-resheniya-zadanij3169" TargetMode="External"/><Relationship Id="rId12" Type="http://schemas.openxmlformats.org/officeDocument/2006/relationships/image" Target="../media/image24.gif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shop.prosv.ru/v-pomoshh-vypuskniku--oge--matematika--spravochnik-s-kommentariyami-vedushhix-ekspertov3231" TargetMode="External"/><Relationship Id="rId11" Type="http://schemas.openxmlformats.org/officeDocument/2006/relationships/image" Target="../media/image23.jpeg"/><Relationship Id="rId5" Type="http://schemas.openxmlformats.org/officeDocument/2006/relationships/hyperlink" Target="https://shop.prosv.ru/matematika-zadaniya-povyshennogo-i-vysokogo-urovnej-slozhnosti-priyomy-i-sposoby-reshenij10213" TargetMode="External"/><Relationship Id="rId10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hyperlink" Target="https://shop.prosv.ru/ya-sdam-oge-2019--matematika--algebra--tipovye-zadaniya3158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30.gif"/><Relationship Id="rId3" Type="http://schemas.openxmlformats.org/officeDocument/2006/relationships/hyperlink" Target="https://shop.prosv.ru/search?q=%D1%81%D0%BF%D1%80%D0%B0%D0%B2%D0%BE%D1%87%D0%BD%D0%B8%D0%BA+%D1%81+%D0%BA%D0%BE%D0%BC%D0%BC%D0%B5%D0%BD%D1%82%D0%B0%D1%80%D0%B8%D1%8F%D0%BC%D0%B8" TargetMode="External"/><Relationship Id="rId7" Type="http://schemas.openxmlformats.org/officeDocument/2006/relationships/hyperlink" Target="https://shop.prosv.ru/search?q=%D0%BE%D0%B3%D1%8D+25+%D0%BB%D1%83%D1%87%D1%88%D0%B8%D1%85" TargetMode="External"/><Relationship Id="rId12" Type="http://schemas.openxmlformats.org/officeDocument/2006/relationships/image" Target="../media/image29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jpeg"/><Relationship Id="rId11" Type="http://schemas.openxmlformats.org/officeDocument/2006/relationships/hyperlink" Target="https://shop.prosv.ru/search?q=%D0%93%D0%BE%D1%82%D0%BE%D0%B2%D0%B8%D0%BC%D1%81%D1%8F+%D0%BA+%D1%8D%D0%BA%D0%B7%D0%B0%D0%BC%D0%B5%D0%BD%D1%83" TargetMode="External"/><Relationship Id="rId5" Type="http://schemas.openxmlformats.org/officeDocument/2006/relationships/image" Target="../media/image26.jpeg"/><Relationship Id="rId10" Type="http://schemas.openxmlformats.org/officeDocument/2006/relationships/image" Target="../media/image28.jpeg"/><Relationship Id="rId4" Type="http://schemas.openxmlformats.org/officeDocument/2006/relationships/hyperlink" Target="https://shop.prosv.ru/search?q=%D1%82%D1%80%D1%83%D0%B4%D0%BD%D1%8B%D0%B5+%D0%B7%D0%B0%D0%B4%D0%B0%D0%BD%D0%B8%D1%8F+%D0%BE%D0%B3%D1%8D" TargetMode="External"/><Relationship Id="rId9" Type="http://schemas.openxmlformats.org/officeDocument/2006/relationships/hyperlink" Target="https://shop.prosv.ru/search?q=%D1%8F+%D1%81%D0%B4%D0%B0%D0%BC+%D0%BE%D0%B3%D1%8D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" TargetMode="External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gif"/><Relationship Id="rId4" Type="http://schemas.openxmlformats.org/officeDocument/2006/relationships/image" Target="../media/image3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cifra.school/#lessons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cifra.school/" TargetMode="External"/><Relationship Id="rId5" Type="http://schemas.openxmlformats.org/officeDocument/2006/relationships/image" Target="../media/image32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460798" y="692696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smtClean="0">
                <a:solidFill>
                  <a:srgbClr val="F98420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F98420"/>
              </a:solidFill>
              <a:latin typeface="+mn-lt"/>
            </a:endParaRPr>
          </a:p>
        </p:txBody>
      </p:sp>
      <p:sp>
        <p:nvSpPr>
          <p:cNvPr id="19" name="Заголовок 4"/>
          <p:cNvSpPr txBox="1">
            <a:spLocks/>
          </p:cNvSpPr>
          <p:nvPr/>
        </p:nvSpPr>
        <p:spPr>
          <a:xfrm>
            <a:off x="551320" y="2586731"/>
            <a:ext cx="11089296" cy="18285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400" dirty="0">
                <a:solidFill>
                  <a:srgbClr val="014694"/>
                </a:solidFill>
                <a:latin typeface="+mn-lt"/>
              </a:rPr>
              <a:t>Готовимся к ОГЭ по математике. </a:t>
            </a:r>
            <a:endParaRPr lang="en-US" sz="4400" dirty="0" smtClean="0">
              <a:solidFill>
                <a:srgbClr val="014694"/>
              </a:solidFill>
              <a:latin typeface="+mn-lt"/>
            </a:endParaRPr>
          </a:p>
          <a:p>
            <a:r>
              <a:rPr lang="ru-RU" sz="4400" dirty="0" smtClean="0">
                <a:solidFill>
                  <a:srgbClr val="014694"/>
                </a:solidFill>
                <a:latin typeface="+mn-lt"/>
              </a:rPr>
              <a:t>Решение </a:t>
            </a:r>
            <a:r>
              <a:rPr lang="ru-RU" sz="4400" dirty="0">
                <a:solidFill>
                  <a:srgbClr val="014694"/>
                </a:solidFill>
                <a:latin typeface="+mn-lt"/>
              </a:rPr>
              <a:t>практико-ориентированных задач математического содержания</a:t>
            </a:r>
            <a:endParaRPr lang="ru-RU" sz="4000" dirty="0">
              <a:solidFill>
                <a:srgbClr val="014694"/>
              </a:solidFill>
              <a:latin typeface="+mn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760296" y="505604"/>
            <a:ext cx="2983030" cy="102312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ru-RU" sz="5400" b="1" dirty="0" smtClean="0">
                <a:solidFill>
                  <a:srgbClr val="014694"/>
                </a:solidFill>
              </a:rPr>
              <a:t>9 класс</a:t>
            </a:r>
            <a:endParaRPr lang="ru-RU" sz="2800" b="1" dirty="0" smtClean="0">
              <a:solidFill>
                <a:srgbClr val="014694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765706"/>
            <a:ext cx="502921" cy="50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076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11427" y="1297405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9395" y="1666132"/>
            <a:ext cx="881619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аш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плане изображе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колько времени затратят на дорогу Саша с дедушкой, если поедут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? Ответ выразите в минутах.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358108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10245709" y="5680670"/>
            <a:ext cx="12542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вет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: 84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Прямоугольник 15"/>
              <p:cNvSpPr/>
              <p:nvPr/>
            </p:nvSpPr>
            <p:spPr>
              <a:xfrm>
                <a:off x="129395" y="5301208"/>
                <a:ext cx="8600537" cy="14437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Решение. </a:t>
                </a:r>
                <a:r>
                  <a:rPr lang="ru-RU" dirty="0">
                    <a:latin typeface="Arial" panose="020B0604020202020204" pitchFamily="34" charset="0"/>
                    <a:cs typeface="Arial" panose="020B0604020202020204" pitchFamily="34" charset="0"/>
                  </a:rPr>
                  <a:t>Из решения пункта 2 и условия следует, что в этом случае </a:t>
                </a: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велосипедисты </a:t>
                </a:r>
                <a:r>
                  <a:rPr lang="ru-RU" dirty="0">
                    <a:latin typeface="Arial" panose="020B0604020202020204" pitchFamily="34" charset="0"/>
                    <a:cs typeface="Arial" panose="020B0604020202020204" pitchFamily="34" charset="0"/>
                  </a:rPr>
                  <a:t>проедут 28 км со скоростью 20 км/ч, т. е. потратят на </a:t>
                </a: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дорогу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i="1" smtClean="0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  <a:cs typeface="Arial" panose="020B0604020202020204" pitchFamily="34" charset="0"/>
                            </a:rPr>
                            <m:t>28</m:t>
                          </m:r>
                        </m:num>
                        <m:den>
                          <m:r>
                            <a:rPr lang="ru-RU" b="0" i="1" smtClean="0">
                              <a:latin typeface="Cambria Math"/>
                              <a:cs typeface="Arial" panose="020B0604020202020204" pitchFamily="34" charset="0"/>
                            </a:rPr>
                            <m:t>20</m:t>
                          </m:r>
                        </m:den>
                      </m:f>
                      <m:r>
                        <a:rPr lang="ru-RU" b="0" i="1" smtClean="0">
                          <a:latin typeface="Cambria Math"/>
                          <a:cs typeface="Arial" panose="020B0604020202020204" pitchFamily="34" charset="0"/>
                        </a:rPr>
                        <m:t>=1,4 часа</m:t>
                      </m:r>
                    </m:oMath>
                  </m:oMathPara>
                </a14:m>
                <a:endParaRPr lang="ru-RU" b="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1,4 часа = 84 минуты</a:t>
                </a:r>
                <a:endParaRPr lang="ru-RU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6" name="Прямоугольник 1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395" y="5301208"/>
                <a:ext cx="8600537" cy="1443729"/>
              </a:xfrm>
              <a:prstGeom prst="rect">
                <a:avLst/>
              </a:prstGeom>
              <a:blipFill rotWithShape="1">
                <a:blip r:embed="rId4"/>
                <a:stretch>
                  <a:fillRect l="-567" t="-2119" b="-635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Прямоугольник 16"/>
          <p:cNvSpPr/>
          <p:nvPr/>
        </p:nvSpPr>
        <p:spPr>
          <a:xfrm>
            <a:off x="8816306" y="5214704"/>
            <a:ext cx="40748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833939" y="2968130"/>
            <a:ext cx="37221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675620" y="1357955"/>
            <a:ext cx="46358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499963" y="1326096"/>
            <a:ext cx="40588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024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11427" y="1282284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29396" y="1651011"/>
            <a:ext cx="8704544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аш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Н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лане изображен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5. Определите, на какой маршрут потребуется меньше всего времени. В ответе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кажите, сколько минут потратят на дорогу Саша с дедушкой, если поедут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этим маршрутом?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342987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8816306" y="5199583"/>
            <a:ext cx="40748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833939" y="2953009"/>
            <a:ext cx="37221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675620" y="1342834"/>
            <a:ext cx="46358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1499963" y="1310975"/>
            <a:ext cx="40588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773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11427" y="1354292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9396" y="1723019"/>
            <a:ext cx="8704544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аш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Н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лане изображен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5. Определите, на какой маршрут потребуется меньше всего времени. В ответе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кажите, сколько минут потратят на дорогу Саша с дедушкой, если поедут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этим маршрутом?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414995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129394" y="4958205"/>
            <a:ext cx="877802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е.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Длину тропинки из </a:t>
            </a:r>
            <a:r>
              <a:rPr lang="ru-RU" sz="1700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 до Иваново можно найти как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гипотенузу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прямоугольного треугольника с катетами 5 и 12, применив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теорему Пифагора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8816306" y="5271591"/>
            <a:ext cx="40748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833939" y="3025017"/>
            <a:ext cx="37221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675620" y="1414842"/>
            <a:ext cx="46358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499963" y="1382983"/>
            <a:ext cx="40588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42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11427" y="1312651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29396" y="1681378"/>
            <a:ext cx="8704544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аш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Н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лане изображен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5. Определите, на какой маршрут потребуется меньше всего времени. В ответе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кажите, сколько минут потратят на дорогу Саша с дедушкой, если поедут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этим маршрутом?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373354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3" name="Прямоугольник 22"/>
              <p:cNvSpPr/>
              <p:nvPr/>
            </p:nvSpPr>
            <p:spPr>
              <a:xfrm>
                <a:off x="129394" y="4916564"/>
                <a:ext cx="8778020" cy="124874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7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Решение. 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Длину тропинки из </a:t>
                </a:r>
                <a:r>
                  <a:rPr lang="ru-RU" sz="17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Камышино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 до Иваново можно найти как 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гипотенузу 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прямоугольного треугольника с катетами 5 и 12, применив 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теорему Пифагора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. Получим 13 км. Значит, на путь через </a:t>
                </a:r>
                <a:r>
                  <a:rPr lang="ru-RU" sz="17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Камышино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велосипедистам потребуется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7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11</m:t>
                        </m:r>
                      </m:num>
                      <m:den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13</m:t>
                        </m:r>
                      </m:den>
                    </m:f>
                    <m:r>
                      <a:rPr lang="ru-RU" sz="1700" b="0" i="1" smtClean="0">
                        <a:latin typeface="Cambria Math"/>
                        <a:cs typeface="Arial" panose="020B0604020202020204" pitchFamily="34" charset="0"/>
                      </a:rPr>
                      <m:t>+</m:t>
                    </m:r>
                    <m:f>
                      <m:fPr>
                        <m:ctrlPr>
                          <a:rPr lang="ru-RU" sz="17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13</m:t>
                        </m:r>
                      </m:num>
                      <m:den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20</m:t>
                        </m:r>
                      </m:den>
                    </m:f>
                    <m:r>
                      <a:rPr lang="ru-RU" sz="1700" b="0" i="1" smtClean="0">
                        <a:latin typeface="Cambria Math"/>
                        <a:cs typeface="Arial" panose="020B0604020202020204" pitchFamily="34" charset="0"/>
                      </a:rPr>
                      <m:t>=1,55 часа.</m:t>
                    </m:r>
                  </m:oMath>
                </a14:m>
                <a:r>
                  <a:rPr lang="ru-RU" sz="1700" b="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Это больше времени, найденного при 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ответе на вопрос 4. </a:t>
                </a:r>
              </a:p>
            </p:txBody>
          </p:sp>
        </mc:Choice>
        <mc:Fallback xmlns="">
          <p:sp>
            <p:nvSpPr>
              <p:cNvPr id="23" name="Прямоугольник 2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394" y="4916564"/>
                <a:ext cx="8778020" cy="1248740"/>
              </a:xfrm>
              <a:prstGeom prst="rect">
                <a:avLst/>
              </a:prstGeom>
              <a:blipFill rotWithShape="1">
                <a:blip r:embed="rId4"/>
                <a:stretch>
                  <a:fillRect l="-417" t="-1471" b="-14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Прямоугольник 23"/>
          <p:cNvSpPr/>
          <p:nvPr/>
        </p:nvSpPr>
        <p:spPr>
          <a:xfrm>
            <a:off x="8816306" y="5229950"/>
            <a:ext cx="40748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833939" y="2983376"/>
            <a:ext cx="37221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675620" y="1373201"/>
            <a:ext cx="46358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499963" y="1341342"/>
            <a:ext cx="40588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14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11427" y="1268760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29396" y="1628800"/>
            <a:ext cx="8704544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аш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Н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лане изображен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5. Определите, на какой маршрут потребуется меньше всего времени. В ответе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кажите, сколько минут потратят на дорогу Саша с дедушкой, если поедут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этим маршрутом?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414983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9248625" y="5868759"/>
            <a:ext cx="12542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вет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: 84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Прямоугольник 16"/>
              <p:cNvSpPr/>
              <p:nvPr/>
            </p:nvSpPr>
            <p:spPr>
              <a:xfrm>
                <a:off x="129394" y="4797152"/>
                <a:ext cx="8778020" cy="21432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7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Решение. 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Длину тропинки из </a:t>
                </a:r>
                <a:r>
                  <a:rPr lang="ru-RU" sz="17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Камышино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 до Иваново можно найти как 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гипотенузу 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прямоугольного треугольника с катетами 5 и 12, применив 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теорему Пифагора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. Получим 13 км. Значит, на путь через </a:t>
                </a:r>
                <a:r>
                  <a:rPr lang="ru-RU" sz="170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Камышино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велосипедистам потребуется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70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11</m:t>
                        </m:r>
                      </m:num>
                      <m:den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13</m:t>
                        </m:r>
                      </m:den>
                    </m:f>
                    <m:r>
                      <a:rPr lang="ru-RU" sz="1700" b="0" i="1" smtClean="0">
                        <a:latin typeface="Cambria Math"/>
                        <a:cs typeface="Arial" panose="020B0604020202020204" pitchFamily="34" charset="0"/>
                      </a:rPr>
                      <m:t>+</m:t>
                    </m:r>
                    <m:f>
                      <m:fPr>
                        <m:ctrlPr>
                          <a:rPr lang="ru-RU" sz="1700" b="0" i="1" smtClean="0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13</m:t>
                        </m:r>
                      </m:num>
                      <m:den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20</m:t>
                        </m:r>
                      </m:den>
                    </m:f>
                    <m:r>
                      <a:rPr lang="ru-RU" sz="1700" b="0" i="1" smtClean="0">
                        <a:latin typeface="Cambria Math"/>
                        <a:cs typeface="Arial" panose="020B0604020202020204" pitchFamily="34" charset="0"/>
                      </a:rPr>
                      <m:t>=1,55 часа.</m:t>
                    </m:r>
                  </m:oMath>
                </a14:m>
                <a:r>
                  <a:rPr lang="ru-RU" sz="1700" b="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Это больше времени, найденного при 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ответе на вопрос 4. </a:t>
                </a: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На путь по лесной тропинке из Васильково до Иваново велосипедисты потратят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7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20</m:t>
                        </m:r>
                      </m:num>
                      <m:den>
                        <m:r>
                          <a:rPr lang="ru-RU" sz="1700" i="1">
                            <a:latin typeface="Cambria Math"/>
                            <a:cs typeface="Arial" panose="020B0604020202020204" pitchFamily="34" charset="0"/>
                          </a:rPr>
                          <m:t>13</m:t>
                        </m:r>
                      </m:den>
                    </m:f>
                    <m:r>
                      <a:rPr lang="ru-RU" sz="1700" b="0" i="1" smtClean="0">
                        <a:latin typeface="Cambria Math"/>
                        <a:cs typeface="Arial" panose="020B0604020202020204" pitchFamily="34" charset="0"/>
                      </a:rPr>
                      <m:t>=1</m:t>
                    </m:r>
                    <m:f>
                      <m:fPr>
                        <m:ctrlPr>
                          <a:rPr lang="ru-RU" sz="1700" i="1"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7</m:t>
                        </m:r>
                      </m:num>
                      <m:den>
                        <m:r>
                          <a:rPr lang="ru-RU" sz="1700" b="0" i="1" smtClean="0">
                            <a:latin typeface="Cambria Math"/>
                            <a:cs typeface="Arial" panose="020B0604020202020204" pitchFamily="34" charset="0"/>
                          </a:rPr>
                          <m:t>13</m:t>
                        </m:r>
                      </m:den>
                    </m:f>
                    <m:r>
                      <a:rPr lang="ru-RU" sz="1700" b="0" i="1" smtClean="0">
                        <a:latin typeface="Cambria Math"/>
                        <a:cs typeface="Arial" panose="020B0604020202020204" pitchFamily="34" charset="0"/>
                      </a:rPr>
                      <m:t> часа</m:t>
                    </m:r>
                  </m:oMath>
                </a14:m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, это больше полутора часов и 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тем более 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1,44 часа. </a:t>
                </a:r>
                <a:endParaRPr lang="ru-RU" sz="17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Значит</a:t>
                </a:r>
                <a:r>
                  <a:rPr lang="ru-RU" sz="1700" dirty="0">
                    <a:latin typeface="Arial" panose="020B0604020202020204" pitchFamily="34" charset="0"/>
                    <a:cs typeface="Arial" panose="020B0604020202020204" pitchFamily="34" charset="0"/>
                  </a:rPr>
                  <a:t>, самым быстрым окажется путь по шоссе</a:t>
                </a:r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  <a:endParaRPr lang="ru-RU" sz="17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7" name="Прямоугольник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394" y="4797152"/>
                <a:ext cx="8778020" cy="2143215"/>
              </a:xfrm>
              <a:prstGeom prst="rect">
                <a:avLst/>
              </a:prstGeom>
              <a:blipFill rotWithShape="1">
                <a:blip r:embed="rId4"/>
                <a:stretch>
                  <a:fillRect l="-417" t="-852" b="-284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Прямоугольник 17"/>
          <p:cNvSpPr/>
          <p:nvPr/>
        </p:nvSpPr>
        <p:spPr>
          <a:xfrm>
            <a:off x="8816306" y="5271579"/>
            <a:ext cx="40748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833939" y="3025005"/>
            <a:ext cx="37221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675620" y="1414830"/>
            <a:ext cx="46358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1499963" y="1382971"/>
            <a:ext cx="40588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525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1" name="Заголовок 4"/>
          <p:cNvSpPr txBox="1">
            <a:spLocks/>
          </p:cNvSpPr>
          <p:nvPr/>
        </p:nvSpPr>
        <p:spPr>
          <a:xfrm>
            <a:off x="4799857" y="2564904"/>
            <a:ext cx="6912767" cy="18285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  <a:hlinkClick r:id="rId2"/>
              </a:rPr>
              <a:t>Математическая </a:t>
            </a:r>
            <a:r>
              <a:rPr lang="ru-RU" sz="2800" dirty="0">
                <a:solidFill>
                  <a:srgbClr val="002060"/>
                </a:solidFill>
                <a:latin typeface="+mn-lt"/>
                <a:cs typeface="Arial" panose="020B0604020202020204" pitchFamily="34" charset="0"/>
                <a:hlinkClick r:id="rId2"/>
              </a:rPr>
              <a:t>грамотность. Математика на каждый день. Тренажёр. 6-8 классы. Т.Ф. Сергеева</a:t>
            </a:r>
            <a:endParaRPr lang="ru-RU" sz="2800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70660" name="Picture 4" descr="Изображение Математическая грамотность. Математика на каждый день. Тренажёр. 6-8 классы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881633"/>
            <a:ext cx="3857625" cy="5238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58" name="Picture 2" descr="http://qrcoder.ru/code/?https%3A%2F%2Fshop.prosv.ru%2Ffunkcionalnaya-gramotnost-trenazhyor-matematika-na-kazhdyj-den-6-8-klassy&amp;4&amp;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025" y="188640"/>
            <a:ext cx="1713599" cy="17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77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51" y="1340768"/>
            <a:ext cx="22193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75593" y="1959280"/>
            <a:ext cx="1196379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школьной футбольной команде тренируются 20 мальчиков,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работают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ними два тренера. Во время подготовки команды к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ю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родском чемпионате по футболу один из тренеров заметил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то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се его воспитанники находятся в одинаково хорошей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тивной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е и решил обсудить свой вывод с коллегой. В ответ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 услышал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ский аргумент: «В среднем каждый член команды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одит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тренировках 50 ч в месяц. Но все они учатся в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ных классах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оэтому расписание тренировок позволяет собрать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у полностью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ько один раз в неделю. Мы не можем устранить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чин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авай подумаем, как минимизировать последствия и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ести нашу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у как минимум в полуфинал чемпионата»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19336" y="4149080"/>
            <a:ext cx="1187630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 1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второй тренер подсчитал среднее время, которое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одят члены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ольной футбольной команды на тренировках за месяц?</a:t>
            </a:r>
          </a:p>
        </p:txBody>
      </p:sp>
    </p:spTree>
    <p:extLst>
      <p:ext uri="{BB962C8B-B14F-4D97-AF65-F5344CB8AC3E}">
        <p14:creationId xmlns:p14="http://schemas.microsoft.com/office/powerpoint/2010/main" val="3267197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605" y="1349918"/>
            <a:ext cx="22193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36863" y="1727460"/>
            <a:ext cx="1196379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школьной футбольной команде тренируются 20 мальчиков,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работают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ними два тренера. Во время подготовки команды к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ю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родском чемпионате по футболу один из тренеров заметил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то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се его воспитанники находятся в одинаково хорошей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тивной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е и решил обсудить свой вывод с коллегой. В ответ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 услышал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ский аргумент: «В среднем каждый член команды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одит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тренировках 50 ч в месяц. Но все они учатся в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ных классах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оэтому расписание тренировок позволяет собрать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у полностью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ько один раз в неделю. Мы не можем устранить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чин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авай подумаем, как минимизировать последствия и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ести нашу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у как минимум в полуфинал чемпионата»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80606" y="3789040"/>
            <a:ext cx="1187630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 1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второй тренер подсчитал среднее время, которое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одят члены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ольной футбольной команды на тренировках за месяц?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0606" y="4728091"/>
            <a:ext cx="1211139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ые ответы: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яснения, в которых говорится о том, что нужно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ировать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тренировок всех мальчиков и разделить на 20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складываете время тренировок всех мальчиков за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яц и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лите на число мальчик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ожите время тренировок всех мальчиков за месяц и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ите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о на количество мальчиков, что в данном случае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вно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тренировок всех мальчиков в этой секции за месяц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азделённое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число мальчиков.</a:t>
            </a:r>
          </a:p>
        </p:txBody>
      </p:sp>
    </p:spTree>
    <p:extLst>
      <p:ext uri="{BB962C8B-B14F-4D97-AF65-F5344CB8AC3E}">
        <p14:creationId xmlns:p14="http://schemas.microsoft.com/office/powerpoint/2010/main" val="2242671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1340768"/>
            <a:ext cx="22193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8038" y="1758228"/>
            <a:ext cx="120446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 2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ой из выводов тренеров школьной футбольной команды,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анных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аблице 1, верен? Поясните свой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.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432" y="2482133"/>
            <a:ext cx="7632848" cy="4115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0993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1348296"/>
            <a:ext cx="22193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8038" y="1758228"/>
            <a:ext cx="120446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 2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ой из выводов тренеров школьной футбольной команды,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анных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аблице 1, верен? Поясните свой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.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432" y="2482133"/>
            <a:ext cx="7632848" cy="4115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8768334" y="2482133"/>
            <a:ext cx="1253744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вет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еверен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еверен</a:t>
            </a: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еверен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еверен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102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24328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1" name="Заголовок 4"/>
          <p:cNvSpPr txBox="1">
            <a:spLocks/>
          </p:cNvSpPr>
          <p:nvPr/>
        </p:nvSpPr>
        <p:spPr>
          <a:xfrm>
            <a:off x="4511824" y="2636912"/>
            <a:ext cx="7225480" cy="18285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  <a:hlinkClick r:id="rId2"/>
              </a:rPr>
              <a:t>ОГЭ</a:t>
            </a:r>
            <a:r>
              <a:rPr lang="ru-RU" sz="2800" dirty="0">
                <a:solidFill>
                  <a:srgbClr val="002060"/>
                </a:solidFill>
                <a:latin typeface="+mn-lt"/>
                <a:cs typeface="Arial" panose="020B0604020202020204" pitchFamily="34" charset="0"/>
                <a:hlinkClick r:id="rId2"/>
              </a:rPr>
              <a:t>. Математика. 15 новых вариантов от "Просвещения". </a:t>
            </a:r>
            <a:r>
              <a:rPr lang="ru-RU" sz="28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  <a:hlinkClick r:id="rId2"/>
              </a:rPr>
              <a:t>Шестаков С.А., Ященко </a:t>
            </a:r>
            <a:r>
              <a:rPr lang="ru-RU" sz="2800" dirty="0">
                <a:solidFill>
                  <a:srgbClr val="002060"/>
                </a:solidFill>
                <a:latin typeface="+mn-lt"/>
                <a:cs typeface="Arial" panose="020B0604020202020204" pitchFamily="34" charset="0"/>
                <a:hlinkClick r:id="rId2"/>
              </a:rPr>
              <a:t>И. В.</a:t>
            </a:r>
            <a:endParaRPr lang="ru-RU" sz="2800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70658" name="Picture 2" descr="Изображение ОГЭ. Математика. 15 новых вариантов от &quot;Просвещения&quot;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2" y="1196752"/>
            <a:ext cx="3600797" cy="480688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2" name="Picture 2" descr="http://qrcoder.ru/code/?https%3A%2F%2Fshop.prosv.ru%2Foge--matematika--15-novyx-variantov-ot-prosveshheniya15119&amp;4&amp;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905" y="188640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7813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1340768"/>
            <a:ext cx="22193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00046" y="1887582"/>
            <a:ext cx="1204462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 3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лось, что при расчёте среднего времени, которое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тят участники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ы на тренировки в месяц, тренер взял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верные данны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Уточнив, он понял, что Андрей, один из спортсменов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место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анных 49 ч тратит на тренировки 54 ч. Какой из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едённых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в окажется точен, если тренер вновь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ьмётся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дсчёты?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071664" y="3356992"/>
            <a:ext cx="60486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,2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,5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</a:p>
        </p:txBody>
      </p:sp>
    </p:spTree>
    <p:extLst>
      <p:ext uri="{BB962C8B-B14F-4D97-AF65-F5344CB8AC3E}">
        <p14:creationId xmlns:p14="http://schemas.microsoft.com/office/powerpoint/2010/main" val="2151159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1374271"/>
            <a:ext cx="22193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00046" y="1997956"/>
            <a:ext cx="1216396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 3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лось, что при расчёте среднего времени, которое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тят участники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ы на тренировки в месяц, тренер взял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верные данны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Уточнив, он понял, что Андрей, один из спортсменов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место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анных 49 ч тратит на тренировки 54 ч. Какой из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едённых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в окажется точен, если тренер вновь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ьмётся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дсчёты?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071664" y="3323350"/>
            <a:ext cx="58384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,2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,5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28084" y="3692682"/>
            <a:ext cx="11944580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значим сумму потраченного на тренировки времени 19 мальчиков за </a:t>
            </a:r>
            <a:r>
              <a:rPr lang="en-US" sz="2000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ru-RU" sz="2000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гда первоначальный расчёт среднего времени: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Прямоугольник 8"/>
              <p:cNvSpPr/>
              <p:nvPr/>
            </p:nvSpPr>
            <p:spPr>
              <a:xfrm>
                <a:off x="1343472" y="4725144"/>
                <a:ext cx="9875639" cy="62581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f>
                      <m:fPr>
                        <m:ctrlPr>
                          <a:rPr lang="ru-RU" sz="2400" b="1" i="1" dirty="0" smtClean="0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2400" b="1" i="1" dirty="0" smtClean="0">
                            <a:solidFill>
                              <a:srgbClr val="002060"/>
                            </a:solidFill>
                            <a:latin typeface="Cambria Math"/>
                            <a:cs typeface="Arial" panose="020B0604020202020204" pitchFamily="34" charset="0"/>
                          </a:rPr>
                          <m:t>𝒙</m:t>
                        </m:r>
                        <m:r>
                          <a:rPr lang="en-US" sz="2400" b="1" i="1" dirty="0" smtClean="0">
                            <a:solidFill>
                              <a:srgbClr val="002060"/>
                            </a:solidFill>
                            <a:latin typeface="Cambria Math"/>
                            <a:cs typeface="Arial" panose="020B0604020202020204" pitchFamily="34" charset="0"/>
                          </a:rPr>
                          <m:t>+</m:t>
                        </m:r>
                        <m:r>
                          <a:rPr lang="en-US" sz="2400" b="1" i="1" dirty="0" smtClean="0">
                            <a:solidFill>
                              <a:srgbClr val="002060"/>
                            </a:solidFill>
                            <a:latin typeface="Cambria Math"/>
                            <a:cs typeface="Arial" panose="020B0604020202020204" pitchFamily="34" charset="0"/>
                          </a:rPr>
                          <m:t>𝟒𝟗</m:t>
                        </m:r>
                      </m:num>
                      <m:den>
                        <m:r>
                          <a:rPr lang="en-US" sz="2400" b="1" i="1" dirty="0" smtClean="0">
                            <a:solidFill>
                              <a:srgbClr val="002060"/>
                            </a:solidFill>
                            <a:latin typeface="Cambria Math"/>
                            <a:cs typeface="Arial" panose="020B0604020202020204" pitchFamily="34" charset="0"/>
                          </a:rPr>
                          <m:t>𝟐𝟎</m:t>
                        </m:r>
                      </m:den>
                    </m:f>
                    <m:r>
                      <a:rPr lang="en-US" sz="2400" b="1" i="1" dirty="0" smtClean="0">
                        <a:solidFill>
                          <a:srgbClr val="002060"/>
                        </a:solidFill>
                        <a:latin typeface="Cambria Math"/>
                        <a:cs typeface="Arial" panose="020B0604020202020204" pitchFamily="34" charset="0"/>
                      </a:rPr>
                      <m:t>=</m:t>
                    </m:r>
                    <m:r>
                      <a:rPr lang="en-US" sz="2400" b="1" i="1" dirty="0" smtClean="0">
                        <a:solidFill>
                          <a:srgbClr val="002060"/>
                        </a:solidFill>
                        <a:latin typeface="Cambria Math"/>
                        <a:cs typeface="Arial" panose="020B0604020202020204" pitchFamily="34" charset="0"/>
                      </a:rPr>
                      <m:t>𝟓𝟎</m:t>
                    </m:r>
                    <m:r>
                      <a:rPr lang="en-US" sz="2400" b="0" i="0" dirty="0" smtClean="0">
                        <a:solidFill>
                          <a:srgbClr val="002060"/>
                        </a:solidFill>
                        <a:latin typeface="Cambria Math"/>
                        <a:cs typeface="Arial" panose="020B0604020202020204" pitchFamily="34" charset="0"/>
                      </a:rPr>
                      <m:t>,</m:t>
                    </m:r>
                  </m:oMath>
                </a14:m>
                <a:r>
                  <a:rPr lang="ru-RU" b="0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ткуда </a:t>
                </a:r>
                <a:r>
                  <a:rPr lang="en-US" b="1" i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</a:t>
                </a:r>
                <a:r>
                  <a:rPr lang="ru-RU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= 951(ч)</a:t>
                </a:r>
                <a:endParaRPr lang="ru-RU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43472" y="4725144"/>
                <a:ext cx="9875639" cy="625812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65312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15" y="1347502"/>
            <a:ext cx="22193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28038" y="1704151"/>
            <a:ext cx="1216396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 3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лось, что при расчёте среднего времени, которое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тят участники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ы на тренировки в месяц, тренер взял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верные данны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Уточнив, он понял, что Андрей, один из спортсменов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место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анных 49 ч тратит на тренировки 54 ч. Какой из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едённых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в окажется точен, если тренер вновь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ьмётся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дсчёты?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999656" y="3029545"/>
            <a:ext cx="58384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,2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,5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6076" y="3398877"/>
            <a:ext cx="11944580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значим сумму потраченного на тренировки времени 19 мальчиков за </a:t>
            </a:r>
            <a:r>
              <a:rPr lang="en-US" sz="2000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ru-RU" sz="2000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гда первоначальный расчёт среднего времени: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Прямоугольник 8"/>
              <p:cNvSpPr/>
              <p:nvPr/>
            </p:nvSpPr>
            <p:spPr>
              <a:xfrm>
                <a:off x="1271464" y="4431339"/>
                <a:ext cx="9875639" cy="62581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f>
                      <m:fPr>
                        <m:ctrlPr>
                          <a:rPr lang="ru-RU" sz="2400" b="1" i="1" dirty="0" smtClean="0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en-US" sz="2400" b="1" i="1" dirty="0" smtClean="0">
                            <a:solidFill>
                              <a:srgbClr val="002060"/>
                            </a:solidFill>
                            <a:latin typeface="Cambria Math"/>
                            <a:cs typeface="Arial" panose="020B0604020202020204" pitchFamily="34" charset="0"/>
                          </a:rPr>
                          <m:t>𝒙</m:t>
                        </m:r>
                        <m:r>
                          <a:rPr lang="en-US" sz="2400" b="1" i="1" dirty="0" smtClean="0">
                            <a:solidFill>
                              <a:srgbClr val="002060"/>
                            </a:solidFill>
                            <a:latin typeface="Cambria Math"/>
                            <a:cs typeface="Arial" panose="020B0604020202020204" pitchFamily="34" charset="0"/>
                          </a:rPr>
                          <m:t>+</m:t>
                        </m:r>
                        <m:r>
                          <a:rPr lang="en-US" sz="2400" b="1" i="1" dirty="0" smtClean="0">
                            <a:solidFill>
                              <a:srgbClr val="002060"/>
                            </a:solidFill>
                            <a:latin typeface="Cambria Math"/>
                            <a:cs typeface="Arial" panose="020B0604020202020204" pitchFamily="34" charset="0"/>
                          </a:rPr>
                          <m:t>𝟒𝟗</m:t>
                        </m:r>
                      </m:num>
                      <m:den>
                        <m:r>
                          <a:rPr lang="en-US" sz="2400" b="1" i="1" dirty="0" smtClean="0">
                            <a:solidFill>
                              <a:srgbClr val="002060"/>
                            </a:solidFill>
                            <a:latin typeface="Cambria Math"/>
                            <a:cs typeface="Arial" panose="020B0604020202020204" pitchFamily="34" charset="0"/>
                          </a:rPr>
                          <m:t>𝟐𝟎</m:t>
                        </m:r>
                      </m:den>
                    </m:f>
                    <m:r>
                      <a:rPr lang="en-US" sz="2400" b="1" i="1" dirty="0" smtClean="0">
                        <a:solidFill>
                          <a:srgbClr val="002060"/>
                        </a:solidFill>
                        <a:latin typeface="Cambria Math"/>
                        <a:cs typeface="Arial" panose="020B0604020202020204" pitchFamily="34" charset="0"/>
                      </a:rPr>
                      <m:t>=</m:t>
                    </m:r>
                    <m:r>
                      <a:rPr lang="en-US" sz="2400" b="1" i="1" dirty="0" smtClean="0">
                        <a:solidFill>
                          <a:srgbClr val="002060"/>
                        </a:solidFill>
                        <a:latin typeface="Cambria Math"/>
                        <a:cs typeface="Arial" panose="020B0604020202020204" pitchFamily="34" charset="0"/>
                      </a:rPr>
                      <m:t>𝟓𝟎</m:t>
                    </m:r>
                    <m:r>
                      <a:rPr lang="en-US" sz="2400" b="0" i="0" dirty="0" smtClean="0">
                        <a:solidFill>
                          <a:srgbClr val="002060"/>
                        </a:solidFill>
                        <a:latin typeface="Cambria Math"/>
                        <a:cs typeface="Arial" panose="020B0604020202020204" pitchFamily="34" charset="0"/>
                      </a:rPr>
                      <m:t>,</m:t>
                    </m:r>
                  </m:oMath>
                </a14:m>
                <a:r>
                  <a:rPr lang="ru-RU" b="0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ткуда </a:t>
                </a:r>
                <a:r>
                  <a:rPr lang="en-US" b="1" i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</a:t>
                </a:r>
                <a:r>
                  <a:rPr lang="ru-RU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= 951(ч)</a:t>
                </a:r>
                <a:endParaRPr lang="ru-RU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1464" y="4431339"/>
                <a:ext cx="9875639" cy="625812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Прямоугольник 9"/>
          <p:cNvSpPr/>
          <p:nvPr/>
        </p:nvSpPr>
        <p:spPr>
          <a:xfrm>
            <a:off x="0" y="5055975"/>
            <a:ext cx="98756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ёт среднего времени с уточненными данными: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Прямоугольник 12"/>
              <p:cNvSpPr/>
              <p:nvPr/>
            </p:nvSpPr>
            <p:spPr>
              <a:xfrm>
                <a:off x="981065" y="5474686"/>
                <a:ext cx="9875639" cy="6768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sz="2000" b="1" i="1" dirty="0" smtClean="0">
                              <a:solidFill>
                                <a:srgbClr val="00206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ru-RU" sz="2000" b="1" i="1" dirty="0" smtClean="0">
                              <a:solidFill>
                                <a:srgbClr val="002060"/>
                              </a:solidFill>
                              <a:latin typeface="Cambria Math"/>
                              <a:cs typeface="Arial" panose="020B0604020202020204" pitchFamily="34" charset="0"/>
                            </a:rPr>
                            <m:t>𝟗𝟓𝟏</m:t>
                          </m:r>
                          <m:r>
                            <a:rPr lang="en-US" sz="2000" b="1" i="1" dirty="0" smtClean="0">
                              <a:solidFill>
                                <a:srgbClr val="002060"/>
                              </a:solidFill>
                              <a:latin typeface="Cambria Math"/>
                              <a:cs typeface="Arial" panose="020B0604020202020204" pitchFamily="34" charset="0"/>
                            </a:rPr>
                            <m:t>+</m:t>
                          </m:r>
                          <m:r>
                            <a:rPr lang="ru-RU" sz="2000" b="1" i="1" dirty="0" smtClean="0">
                              <a:solidFill>
                                <a:srgbClr val="002060"/>
                              </a:solidFill>
                              <a:latin typeface="Cambria Math"/>
                              <a:cs typeface="Arial" panose="020B0604020202020204" pitchFamily="34" charset="0"/>
                            </a:rPr>
                            <m:t>𝟓𝟒</m:t>
                          </m:r>
                        </m:num>
                        <m:den>
                          <m:r>
                            <a:rPr lang="en-US" sz="2000" b="1" i="1" dirty="0" smtClean="0">
                              <a:solidFill>
                                <a:srgbClr val="002060"/>
                              </a:solidFill>
                              <a:latin typeface="Cambria Math"/>
                              <a:cs typeface="Arial" panose="020B0604020202020204" pitchFamily="34" charset="0"/>
                            </a:rPr>
                            <m:t>𝟐𝟎</m:t>
                          </m:r>
                        </m:den>
                      </m:f>
                      <m:r>
                        <a:rPr lang="en-US" sz="2000" b="1" i="1" dirty="0" smtClean="0">
                          <a:solidFill>
                            <a:srgbClr val="002060"/>
                          </a:solidFill>
                          <a:latin typeface="Cambria Math"/>
                          <a:cs typeface="Arial" panose="020B0604020202020204" pitchFamily="34" charset="0"/>
                        </a:rPr>
                        <m:t>=</m:t>
                      </m:r>
                      <m:r>
                        <a:rPr lang="ru-RU" sz="2000" b="1" i="1" dirty="0" smtClean="0">
                          <a:solidFill>
                            <a:srgbClr val="002060"/>
                          </a:solidFill>
                          <a:latin typeface="Cambria Math"/>
                          <a:cs typeface="Arial" panose="020B0604020202020204" pitchFamily="34" charset="0"/>
                        </a:rPr>
                        <m:t>𝟓𝟎</m:t>
                      </m:r>
                      <m:r>
                        <a:rPr lang="ru-RU" sz="2000" b="1" i="1" dirty="0" smtClean="0">
                          <a:solidFill>
                            <a:srgbClr val="002060"/>
                          </a:solidFill>
                          <a:latin typeface="Cambria Math"/>
                          <a:cs typeface="Arial" panose="020B0604020202020204" pitchFamily="34" charset="0"/>
                        </a:rPr>
                        <m:t>,</m:t>
                      </m:r>
                      <m:r>
                        <a:rPr lang="ru-RU" sz="2000" b="1" i="1" dirty="0" smtClean="0">
                          <a:solidFill>
                            <a:srgbClr val="002060"/>
                          </a:solidFill>
                          <a:latin typeface="Cambria Math"/>
                          <a:cs typeface="Arial" panose="020B0604020202020204" pitchFamily="34" charset="0"/>
                        </a:rPr>
                        <m:t>𝟐𝟓</m:t>
                      </m:r>
                      <m:r>
                        <a:rPr lang="ru-RU" sz="2000" b="0" i="1" dirty="0" smtClean="0">
                          <a:solidFill>
                            <a:srgbClr val="002060"/>
                          </a:solidFill>
                          <a:latin typeface="Cambria Math"/>
                          <a:cs typeface="Arial" panose="020B0604020202020204" pitchFamily="34" charset="0"/>
                        </a:rPr>
                        <m:t>(ч)</m:t>
                      </m:r>
                    </m:oMath>
                  </m:oMathPara>
                </a14:m>
                <a:endParaRPr lang="ru-RU" sz="16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3" name="Прямоугольник 1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1065" y="5474686"/>
                <a:ext cx="9875639" cy="676852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Прямоугольник 13"/>
          <p:cNvSpPr/>
          <p:nvPr/>
        </p:nvSpPr>
        <p:spPr>
          <a:xfrm>
            <a:off x="264137" y="6200775"/>
            <a:ext cx="20146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: 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)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,2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.</a:t>
            </a:r>
          </a:p>
        </p:txBody>
      </p:sp>
    </p:spTree>
    <p:extLst>
      <p:ext uri="{BB962C8B-B14F-4D97-AF65-F5344CB8AC3E}">
        <p14:creationId xmlns:p14="http://schemas.microsoft.com/office/powerpoint/2010/main" val="26146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1340768"/>
            <a:ext cx="22193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1271464" y="1995237"/>
            <a:ext cx="98756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же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едена таблица с нормативами. Андрей пробежал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станцию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м за 10,5 с. Результат Сергея лучше на 0,6 с.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ие отметки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или Андрей и Сергей за сдачу нормативов?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8802" y="3501008"/>
            <a:ext cx="8094395" cy="1409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1476136" y="5230223"/>
            <a:ext cx="40873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: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дрей – «3», Сергей – «4».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606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600" dirty="0" err="1" smtClean="0">
              <a:solidFill>
                <a:schemeClr val="bg1"/>
              </a:solidFill>
            </a:endParaRPr>
          </a:p>
        </p:txBody>
      </p:sp>
      <p:pic>
        <p:nvPicPr>
          <p:cNvPr id="70660" name="Picture 4" descr="Изображение Математическая грамотность. Математика на каждый день. Тренажёр. 6-8 классы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808" y="1368417"/>
            <a:ext cx="3016088" cy="40959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4"/>
          <p:cNvSpPr txBox="1">
            <a:spLocks/>
          </p:cNvSpPr>
          <p:nvPr/>
        </p:nvSpPr>
        <p:spPr>
          <a:xfrm>
            <a:off x="479376" y="333375"/>
            <a:ext cx="8712968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dirty="0" smtClean="0">
                <a:solidFill>
                  <a:srgbClr val="014694"/>
                </a:solidFill>
                <a:latin typeface="+mn-lt"/>
              </a:rPr>
              <a:t>Урок подготовлен на основе материалов следующих пособий:</a:t>
            </a:r>
            <a:endParaRPr lang="ru-RU" sz="2000" dirty="0">
              <a:solidFill>
                <a:srgbClr val="014694"/>
              </a:solidFill>
              <a:latin typeface="+mn-lt"/>
            </a:endParaRPr>
          </a:p>
        </p:txBody>
      </p:sp>
      <p:pic>
        <p:nvPicPr>
          <p:cNvPr id="6" name="Picture 2" descr="Изображение ОГЭ. Математика. 15 новых вариантов от &quot;Просвещения&quot;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2" y="1421310"/>
            <a:ext cx="3028597" cy="404302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8267903" y="3704490"/>
            <a:ext cx="38017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  <a:hlinkClick r:id="rId4"/>
              </a:rPr>
              <a:t>Математическая грамотность. Математика на каждый день. Тренажёр. 6-8 классы. Т.Ф. Сергеева</a:t>
            </a:r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267903" y="2611828"/>
            <a:ext cx="36197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  <a:hlinkClick r:id="rId5"/>
              </a:rPr>
              <a:t>ОГЭ. Математика. 15 новых вариантов от "Просвещения". Шестаков С.А., Ященко И. В.</a:t>
            </a:r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545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15229" y="1484784"/>
            <a:ext cx="12119991" cy="43807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71686" name="Picture 6" descr="Изображение Я сдам ОГЭ-2019! Математика. Курс самоподготовки. Технология решения заданий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654" y="1330509"/>
            <a:ext cx="1644655" cy="22390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Изображение Я сдам ОГЭ-2019! Математика. Геометрия. Типовые задания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941" y="1328092"/>
            <a:ext cx="1683108" cy="22414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90" name="Picture 10" descr="Изображение Я сдам ОГЭ-2019! Математика. Алгебра. Типовые задания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878" y="1327463"/>
            <a:ext cx="1656184" cy="22435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4"/>
          <p:cNvSpPr txBox="1">
            <a:spLocks/>
          </p:cNvSpPr>
          <p:nvPr/>
        </p:nvSpPr>
        <p:spPr>
          <a:xfrm>
            <a:off x="230987" y="185760"/>
            <a:ext cx="9577064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dirty="0" smtClean="0">
                <a:solidFill>
                  <a:srgbClr val="014694"/>
                </a:solidFill>
                <a:latin typeface="+mn-lt"/>
              </a:rPr>
              <a:t>Вас также могут заинтересовать следующие пособия по математике:</a:t>
            </a:r>
            <a:endParaRPr lang="ru-RU" sz="2000" dirty="0">
              <a:solidFill>
                <a:srgbClr val="014694"/>
              </a:solidFill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458980" y="1528656"/>
            <a:ext cx="4676241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  <a:hlinkClick r:id="rId5"/>
              </a:rPr>
              <a:t>Математика. Задания повышенного и высокого уровня сложности. Приемы и способы решения. Крайнева Л. Б</a:t>
            </a:r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</a:rPr>
              <a:t>.</a:t>
            </a:r>
          </a:p>
          <a:p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  <a:hlinkClick r:id="rId6"/>
              </a:rPr>
              <a:t>В помощь выпускнику. ОГЭ. Математика. Справочник с комментариями ведущих экспертов. Кузнецова Л. В., Суворова С. Б., Булычев В. А. и др.</a:t>
            </a:r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  <a:hlinkClick r:id="rId7"/>
              </a:rPr>
              <a:t>Я сдам ОГЭ-2019! Математика. Курс самоподготовки. Технология решения заданий. Ященко И. В., Шестаков С. А.</a:t>
            </a:r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  <a:hlinkClick r:id="rId8"/>
              </a:rPr>
              <a:t>Я сдам ОГЭ-2019! Математика. Геометрия. Типовые задания. Ященко И. В., Шестаков С. А.</a:t>
            </a:r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  <a:hlinkClick r:id="rId9"/>
              </a:rPr>
              <a:t>Я сдам ОГЭ-2019! Математика. Алгебра. Типовые задания. Ященко И. В., Шестаков С. А.</a:t>
            </a:r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71682" name="Picture 2" descr="Изображение Математика. Задания повышенного и высокого уровня сложности. Приемы и способы решения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8" r="1" b="-375"/>
          <a:stretch/>
        </p:blipFill>
        <p:spPr bwMode="auto">
          <a:xfrm>
            <a:off x="1574726" y="3489262"/>
            <a:ext cx="1913473" cy="25847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Изображение В помощь выпускнику. ОГЭ. Математика. Справочник с комментариями ведущих экспертов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126" y="3489262"/>
            <a:ext cx="1959716" cy="25847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2464" y="81176"/>
            <a:ext cx="1324947" cy="1324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78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1648594"/>
            <a:ext cx="12192000" cy="43807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" name="Заголовок 4"/>
          <p:cNvSpPr txBox="1">
            <a:spLocks/>
          </p:cNvSpPr>
          <p:nvPr/>
        </p:nvSpPr>
        <p:spPr>
          <a:xfrm>
            <a:off x="479376" y="333375"/>
            <a:ext cx="8280920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dirty="0" smtClean="0">
                <a:solidFill>
                  <a:srgbClr val="014694"/>
                </a:solidFill>
                <a:latin typeface="+mn-lt"/>
              </a:rPr>
              <a:t>Еще больше пособий для подготовки к ОГЭ по другим предметам можно найти в нашем интернет магазине:</a:t>
            </a:r>
            <a:endParaRPr lang="ru-RU" sz="2000" dirty="0">
              <a:solidFill>
                <a:srgbClr val="014694"/>
              </a:solidFill>
              <a:latin typeface="+mn-lt"/>
            </a:endParaRPr>
          </a:p>
        </p:txBody>
      </p:sp>
      <p:pic>
        <p:nvPicPr>
          <p:cNvPr id="70658" name="Picture 2" descr="Изображение В помощь выпускнику. ОГЭ. Русский язык. Справочник с комментариями ведущих экспертов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0"/>
          <a:stretch/>
        </p:blipFill>
        <p:spPr bwMode="auto">
          <a:xfrm>
            <a:off x="301489" y="1700808"/>
            <a:ext cx="1474031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Заголовок 5"/>
          <p:cNvSpPr txBox="1">
            <a:spLocks/>
          </p:cNvSpPr>
          <p:nvPr/>
        </p:nvSpPr>
        <p:spPr>
          <a:xfrm>
            <a:off x="1771821" y="1988840"/>
            <a:ext cx="2201721" cy="10801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14694"/>
                </a:solidFill>
                <a:latin typeface="+mn-lt"/>
                <a:hlinkClick r:id="rId3"/>
              </a:rPr>
              <a:t>Серия «Справочник с комментариями ведущих экспертов»</a:t>
            </a:r>
            <a:endParaRPr lang="ru-RU" sz="1600" dirty="0" smtClean="0">
              <a:solidFill>
                <a:srgbClr val="014694"/>
              </a:solidFill>
              <a:latin typeface="+mn-lt"/>
            </a:endParaRPr>
          </a:p>
        </p:txBody>
      </p:sp>
      <p:sp>
        <p:nvSpPr>
          <p:cNvPr id="26" name="Заголовок 5"/>
          <p:cNvSpPr txBox="1">
            <a:spLocks/>
          </p:cNvSpPr>
          <p:nvPr/>
        </p:nvSpPr>
        <p:spPr>
          <a:xfrm>
            <a:off x="1919536" y="4293096"/>
            <a:ext cx="2016224" cy="10801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14694"/>
                </a:solidFill>
                <a:latin typeface="+mn-lt"/>
                <a:hlinkClick r:id="rId4"/>
              </a:rPr>
              <a:t>Серия «Трудные задания»</a:t>
            </a:r>
            <a:endParaRPr lang="ru-RU" sz="1600" dirty="0" smtClean="0">
              <a:solidFill>
                <a:srgbClr val="014694"/>
              </a:solidFill>
              <a:latin typeface="+mn-lt"/>
            </a:endParaRPr>
          </a:p>
        </p:txBody>
      </p:sp>
      <p:pic>
        <p:nvPicPr>
          <p:cNvPr id="27" name="Picture 26" descr="Изображение Химия. Трудные задания ОГЭ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6" y="3838965"/>
            <a:ext cx="1426241" cy="190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84" name="Picture 28" descr="Изображение ОГЭ-2019. История. 25 лучших вариантов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808" y="1700807"/>
            <a:ext cx="1382030" cy="1853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Заголовок 5"/>
          <p:cNvSpPr txBox="1">
            <a:spLocks/>
          </p:cNvSpPr>
          <p:nvPr/>
        </p:nvSpPr>
        <p:spPr>
          <a:xfrm>
            <a:off x="5879976" y="1990869"/>
            <a:ext cx="2016224" cy="10801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14694"/>
                </a:solidFill>
                <a:latin typeface="+mn-lt"/>
                <a:hlinkClick r:id="rId7"/>
              </a:rPr>
              <a:t>Серия «25 лучших вариантов от «Просвещения»</a:t>
            </a:r>
            <a:endParaRPr lang="ru-RU" sz="1600" dirty="0" smtClean="0">
              <a:solidFill>
                <a:srgbClr val="014694"/>
              </a:solidFill>
              <a:latin typeface="+mn-lt"/>
            </a:endParaRPr>
          </a:p>
        </p:txBody>
      </p:sp>
      <p:pic>
        <p:nvPicPr>
          <p:cNvPr id="70686" name="Picture 30" descr="Изображение Я сдам ОГЭ-2019! Математика. Алгебра. Типовые задания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807" y="3847645"/>
            <a:ext cx="1399063" cy="1895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Заголовок 5"/>
          <p:cNvSpPr txBox="1">
            <a:spLocks/>
          </p:cNvSpPr>
          <p:nvPr/>
        </p:nvSpPr>
        <p:spPr>
          <a:xfrm>
            <a:off x="5931774" y="4312805"/>
            <a:ext cx="1964426" cy="10801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14694"/>
                </a:solidFill>
                <a:latin typeface="+mn-lt"/>
                <a:hlinkClick r:id="rId9"/>
              </a:rPr>
              <a:t>Серия «Я сдам ОГЭ»</a:t>
            </a:r>
            <a:endParaRPr lang="ru-RU" sz="1600" dirty="0" smtClean="0">
              <a:solidFill>
                <a:srgbClr val="014694"/>
              </a:solidFill>
              <a:latin typeface="+mn-lt"/>
            </a:endParaRPr>
          </a:p>
        </p:txBody>
      </p:sp>
      <p:pic>
        <p:nvPicPr>
          <p:cNvPr id="70688" name="Picture 32" descr="Изображение Английский язык. ОГЭ. Устная часть.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4527" y="1700808"/>
            <a:ext cx="1382449" cy="1832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Заголовок 5"/>
          <p:cNvSpPr txBox="1">
            <a:spLocks/>
          </p:cNvSpPr>
          <p:nvPr/>
        </p:nvSpPr>
        <p:spPr>
          <a:xfrm>
            <a:off x="9833309" y="1988840"/>
            <a:ext cx="1964426" cy="10801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14694"/>
                </a:solidFill>
                <a:latin typeface="+mn-lt"/>
                <a:hlinkClick r:id="rId11"/>
              </a:rPr>
              <a:t>Серия «Готовимся к экзамену»</a:t>
            </a:r>
            <a:endParaRPr lang="ru-RU" sz="1600" dirty="0" smtClean="0">
              <a:solidFill>
                <a:srgbClr val="014694"/>
              </a:solidFill>
              <a:latin typeface="+mn-lt"/>
            </a:endParaRPr>
          </a:p>
        </p:txBody>
      </p:sp>
      <p:pic>
        <p:nvPicPr>
          <p:cNvPr id="70690" name="Picture 34" descr="Изображение Немецкий язык. Письменная часть ОГЭ. 9 класс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4528" y="3838965"/>
            <a:ext cx="1384935" cy="1822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2464" y="88075"/>
            <a:ext cx="1324800" cy="13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152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3"/>
          <p:cNvSpPr/>
          <p:nvPr/>
        </p:nvSpPr>
        <p:spPr>
          <a:xfrm>
            <a:off x="7464152" y="478319"/>
            <a:ext cx="3456384" cy="133842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75" y="2276872"/>
            <a:ext cx="12189772" cy="3411316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8112224" y="978262"/>
            <a:ext cx="5378740" cy="389234"/>
            <a:chOff x="289608" y="6005228"/>
            <a:chExt cx="4302992" cy="293565"/>
          </a:xfrm>
        </p:grpSpPr>
        <p:sp>
          <p:nvSpPr>
            <p:cNvPr id="11" name="TextBox 10"/>
            <p:cNvSpPr txBox="1"/>
            <p:nvPr/>
          </p:nvSpPr>
          <p:spPr>
            <a:xfrm>
              <a:off x="574096" y="6005228"/>
              <a:ext cx="4018504" cy="255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hlinkClick r:id="rId3"/>
                </a:rPr>
                <a:t>https://shop.prosv.ru/</a:t>
              </a:r>
              <a:endParaRPr lang="ru-RU" sz="1600" i="1" dirty="0"/>
            </a:p>
          </p:txBody>
        </p:sp>
        <p:pic>
          <p:nvPicPr>
            <p:cNvPr id="12" name="Picture 8" descr="https://www.pinclipart.com/picdir/big/288-2884575_sample-courses-clipart.png"/>
            <p:cNvPicPr>
              <a:picLocks noChangeAspect="1" noChangeArrowheads="1"/>
            </p:cNvPicPr>
            <p:nvPr/>
          </p:nvPicPr>
          <p:blipFill>
            <a:blip r:embed="rId4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89608" y="6025709"/>
              <a:ext cx="281818" cy="2730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Заголовок 5"/>
          <p:cNvSpPr txBox="1">
            <a:spLocks/>
          </p:cNvSpPr>
          <p:nvPr/>
        </p:nvSpPr>
        <p:spPr>
          <a:xfrm>
            <a:off x="619509" y="692696"/>
            <a:ext cx="6048672" cy="10801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rgbClr val="FF0000"/>
                </a:solidFill>
                <a:latin typeface="+mn-lt"/>
              </a:rPr>
              <a:t>Акция</a:t>
            </a:r>
            <a:r>
              <a:rPr lang="ru-RU" sz="2800" b="1" dirty="0" smtClean="0">
                <a:solidFill>
                  <a:srgbClr val="014694"/>
                </a:solidFill>
                <a:latin typeface="+mn-lt"/>
              </a:rPr>
              <a:t>*</a:t>
            </a:r>
            <a:r>
              <a:rPr lang="ru-RU" sz="2800" b="1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ru-RU" sz="2800" b="1" dirty="0" smtClean="0">
                <a:solidFill>
                  <a:srgbClr val="014694"/>
                </a:solidFill>
                <a:latin typeface="+mn-lt"/>
              </a:rPr>
              <a:t>в нашем интернет магазине </a:t>
            </a:r>
          </a:p>
          <a:p>
            <a:pPr algn="r"/>
            <a:r>
              <a:rPr lang="ru-RU" sz="1800" b="1" i="1" dirty="0" smtClean="0">
                <a:solidFill>
                  <a:srgbClr val="014694"/>
                </a:solidFill>
                <a:latin typeface="+mn-lt"/>
              </a:rPr>
              <a:t>*Срок акции до 30 апреля</a:t>
            </a:r>
            <a:endParaRPr lang="ru-RU" sz="1800" b="1" i="1" dirty="0">
              <a:solidFill>
                <a:srgbClr val="014694"/>
              </a:solidFill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9335" y="2492896"/>
            <a:ext cx="1516013" cy="151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90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40" y="600022"/>
            <a:ext cx="10304880" cy="5616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472" y="4726731"/>
            <a:ext cx="24955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271463" y="5242498"/>
            <a:ext cx="432048" cy="44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1199456" y="1454151"/>
            <a:ext cx="5297221" cy="571980"/>
            <a:chOff x="-2821138" y="6093841"/>
            <a:chExt cx="4237777" cy="431394"/>
          </a:xfrm>
        </p:grpSpPr>
        <p:sp>
          <p:nvSpPr>
            <p:cNvPr id="8" name="TextBox 7"/>
            <p:cNvSpPr txBox="1"/>
            <p:nvPr/>
          </p:nvSpPr>
          <p:spPr>
            <a:xfrm>
              <a:off x="-2601865" y="6093841"/>
              <a:ext cx="4018504" cy="2553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hlinkClick r:id="rId6"/>
                </a:rPr>
                <a:t>https</a:t>
              </a:r>
              <a:r>
                <a:rPr lang="en-US" sz="1600" dirty="0" smtClean="0">
                  <a:hlinkClick r:id="rId6"/>
                </a:rPr>
                <a:t>://cifra.school</a:t>
              </a:r>
              <a:endParaRPr lang="ru-RU" sz="1600" i="1" dirty="0"/>
            </a:p>
          </p:txBody>
        </p:sp>
        <p:pic>
          <p:nvPicPr>
            <p:cNvPr id="10" name="Picture 8" descr="https://www.pinclipart.com/picdir/big/288-2884575_sample-courses-clipart.png"/>
            <p:cNvPicPr>
              <a:picLocks noChangeAspect="1" noChangeArrowheads="1"/>
            </p:cNvPicPr>
            <p:nvPr/>
          </p:nvPicPr>
          <p:blipFill>
            <a:blip r:embed="rId5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-2821138" y="6252151"/>
              <a:ext cx="281818" cy="2730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03240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357063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53839" y="1772816"/>
            <a:ext cx="881619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. Саш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плане изображе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льзуясь описанием, определите, какими цифрами на плане обозначены на-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елённые пункты. В ответ запишите полученную последовательность четырёх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ифр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0336" y="1457400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6" y="5441340"/>
            <a:ext cx="8808621" cy="11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1677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11427" y="1380059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9395" y="1748786"/>
            <a:ext cx="881619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. Саш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плане изображе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льзуясь описанием, определите, какими цифрами на плане обозначены на-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елённые пункты. В ответ запишите полученную последовательность четырёх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ифр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0336" y="1483128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6" y="5599843"/>
            <a:ext cx="8808621" cy="11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7212597" y="2365528"/>
            <a:ext cx="1500539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11426" y="2624320"/>
            <a:ext cx="8156197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11427" y="2908992"/>
            <a:ext cx="838048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211426" y="3176411"/>
            <a:ext cx="8156197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7258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11427" y="1452067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29395" y="1820794"/>
            <a:ext cx="881619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. Саш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плане изображе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льзуясь описанием, определите, какими цифрами на плане обозначены на-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елённые пункты. В ответ запишите полученную последовательность четырёх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ифр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512770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6" y="5671851"/>
            <a:ext cx="8808621" cy="11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Прямая соединительная линия 23"/>
          <p:cNvCxnSpPr/>
          <p:nvPr/>
        </p:nvCxnSpPr>
        <p:spPr>
          <a:xfrm>
            <a:off x="7212597" y="2437536"/>
            <a:ext cx="1500539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211426" y="2696328"/>
            <a:ext cx="8156197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211427" y="2981000"/>
            <a:ext cx="838048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211426" y="3248419"/>
            <a:ext cx="8156197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9428672" y="2156786"/>
            <a:ext cx="2337758" cy="3357327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 flipH="1" flipV="1">
            <a:off x="9020047" y="1897994"/>
            <a:ext cx="1" cy="2950234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9020048" y="1759971"/>
            <a:ext cx="266874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9676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11427" y="1263439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395" y="1632166"/>
            <a:ext cx="881619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. Саш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плане изображе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льзуясь описанием, определите, какими цифрами на плане обозначены на-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елённые пункты. В ответ запишите полученную последовательность четырёх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ифр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324142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Прямая соединительная линия 18"/>
          <p:cNvCxnSpPr/>
          <p:nvPr/>
        </p:nvCxnSpPr>
        <p:spPr>
          <a:xfrm>
            <a:off x="7212597" y="2248908"/>
            <a:ext cx="1500539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211426" y="2507700"/>
            <a:ext cx="8156197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211427" y="2792372"/>
            <a:ext cx="838048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211426" y="3059791"/>
            <a:ext cx="8156197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V="1">
            <a:off x="9428672" y="1968158"/>
            <a:ext cx="2337758" cy="3357327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 flipV="1">
            <a:off x="9020047" y="1709366"/>
            <a:ext cx="1" cy="2950234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9020048" y="1571343"/>
            <a:ext cx="2668744" cy="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26" y="5447926"/>
            <a:ext cx="8808622" cy="1136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9912424" y="5664618"/>
            <a:ext cx="15748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вет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243.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2181100" y="5017987"/>
            <a:ext cx="6512735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11426" y="5304310"/>
            <a:ext cx="642589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407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11427" y="1570316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29395" y="1939043"/>
            <a:ext cx="881619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аш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плане изображе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2. Скольк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илометров проедут Саша с дедушкой, если они поедут по шоссе че-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ез 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631019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8816306" y="5487615"/>
            <a:ext cx="40748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833939" y="3241041"/>
            <a:ext cx="37221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675620" y="1630866"/>
            <a:ext cx="46358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1499963" y="1599007"/>
            <a:ext cx="40588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236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11427" y="1263806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9395" y="1632533"/>
            <a:ext cx="881619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аш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плане изображе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. Найдите расстояние от д. Васильково до с. Иваново по прямой. Отве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ыразит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километрах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324509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9850246" y="5874982"/>
            <a:ext cx="12542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вет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: 20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29395" y="5320984"/>
            <a:ext cx="860053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е.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 решения пункта 2 следует, что длину искомого отрезка можно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йти как гипотенузу прямоугольного треугольника со сторонами 12 км и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6 км, воспользовавшись теоремой Пифагора. Можно заметить, что катеты в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4 раза больше катетов прямоугольного треугольника со сторонами 3, 4, 5,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начит, и гипотенуза будет в 4 раза больше, т. е. равна 20 км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816306" y="5181105"/>
            <a:ext cx="40748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833939" y="2934531"/>
            <a:ext cx="37221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675620" y="1324356"/>
            <a:ext cx="46358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499963" y="1292497"/>
            <a:ext cx="40588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045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Готовимся к ОГЭ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9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11427" y="1498308"/>
            <a:ext cx="15498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29395" y="1867035"/>
            <a:ext cx="881619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аш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етом отдыхает у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душки 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еревне Васильково.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убботу он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бираются съезди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елосипеда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ело Иван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гази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Из Васильково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 можн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ехать по прям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рожке. Есть боле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линн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уть по шоссе —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и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где нуж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нуть под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ямым углом направ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друго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оссе, ведущее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Есть и третий маршрут: в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мышино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жно свернуть н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яму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ропинку, которая идё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им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уда прямо в Иваново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 шосс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аша с дедушкой ед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 скорость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0 км/ч, а п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лесной дорожк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тропинке — 13 км/ч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плане изображен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ное располож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селё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сторона каждой клетк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в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 к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колько времени затратят на дорогу Саша с дедушкой, если поедут чере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ревню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уравуш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? Ответ выразите в минутах.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048" y="1559011"/>
            <a:ext cx="2914650" cy="414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8816306" y="5415607"/>
            <a:ext cx="40748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833939" y="3169033"/>
            <a:ext cx="37221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675620" y="1558858"/>
            <a:ext cx="46358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1499963" y="1526999"/>
            <a:ext cx="405880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endParaRPr lang="ru-RU" sz="2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248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угая 1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002060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427</TotalTime>
  <Words>3114</Words>
  <Application>Microsoft Office PowerPoint</Application>
  <PresentationFormat>Широкоэкранный</PresentationFormat>
  <Paragraphs>238</Paragraphs>
  <Slides>2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6" baseType="lpstr">
      <vt:lpstr>Arial</vt:lpstr>
      <vt:lpstr>Calibri</vt:lpstr>
      <vt:lpstr>Calibri Light</vt:lpstr>
      <vt:lpstr>Cambria Math</vt:lpstr>
      <vt:lpstr>Times New Roman</vt:lpstr>
      <vt:lpstr>Wingdings</vt:lpstr>
      <vt:lpstr>Drofa</vt:lpstr>
      <vt:lpstr>Слайд think-cell</vt:lpstr>
      <vt:lpstr>Презентация PowerPoint</vt:lpstr>
      <vt:lpstr>Презентация PowerPoint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Презентация PowerPoint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Готовимся к ОГЭ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Дрофа</dc:creator>
  <cp:lastModifiedBy>Шинко Елена Юрьевна</cp:lastModifiedBy>
  <cp:revision>1592</cp:revision>
  <cp:lastPrinted>2018-05-30T14:26:43Z</cp:lastPrinted>
  <dcterms:created xsi:type="dcterms:W3CDTF">2011-07-04T10:53:52Z</dcterms:created>
  <dcterms:modified xsi:type="dcterms:W3CDTF">2020-04-09T18:29:25Z</dcterms:modified>
</cp:coreProperties>
</file>